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310"/>
    <p:restoredTop sz="90881"/>
  </p:normalViewPr>
  <p:slideViewPr>
    <p:cSldViewPr>
      <p:cViewPr>
        <p:scale>
          <a:sx n="29" d="100"/>
          <a:sy n="29" d="100"/>
        </p:scale>
        <p:origin x="848" y="144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10241744"/>
        <c:axId val="2108363808"/>
      </c:lineChart>
      <c:catAx>
        <c:axId val="211024174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108363808"/>
        <c:crosses val="autoZero"/>
        <c:auto val="1"/>
        <c:lblAlgn val="ctr"/>
        <c:lblOffset val="100"/>
        <c:noMultiLvlLbl val="0"/>
      </c:catAx>
      <c:valAx>
        <c:axId val="2108363808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110241744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706631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switche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7403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7417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00" y="3409349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132" y="3677703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6600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Can we implement a new data=plane algorithm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switch 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387861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switch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005125" y="25849032"/>
            <a:ext cx="10650366" cy="480564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900431" cy="567406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428341" y="5091071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78869" cy="473386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22707600" y="10925360"/>
            <a:ext cx="9372600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2867741" y="16175478"/>
            <a:ext cx="9212459" cy="829613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-152400" y="1919513"/>
            <a:ext cx="331632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Alvin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Cheung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Mihai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 Chuang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Tom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Kim, Steve Licking,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Nick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George Varghese</a:t>
            </a:r>
            <a:endParaRPr lang="en-US" sz="3600" dirty="0">
              <a:latin typeface="Gadugi" charset="0"/>
              <a:ea typeface="Gadugi" charset="0"/>
              <a:cs typeface="Gadugi" charset="0"/>
            </a:endParaRP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1381623" y="15294863"/>
            <a:ext cx="9606951" cy="125419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Hardware, and software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2215908" y="17830800"/>
            <a:ext cx="9781454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switches</a:t>
            </a:r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2"/>
            <a:ext cx="9822703" cy="61368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4915146" y="18444097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8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894508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2113002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999553"/>
              </p:ext>
            </p:extLst>
          </p:nvPr>
        </p:nvGraphicFramePr>
        <p:xfrm>
          <a:off x="12629170" y="24487538"/>
          <a:ext cx="8696364" cy="602433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610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06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29076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(max 30)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(max 10)</a:t>
                      </a:r>
                      <a:endParaRPr lang="en-US" sz="2400" b="0" dirty="0" smtClean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552432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763661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bstractions 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7231196"/>
            <a:ext cx="831615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pipeline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First-Out 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904875" indent="-204788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abstractions 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Need an expressive abstraction running 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are packets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sent</a:t>
            </a: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determined</a:t>
            </a:r>
          </a:p>
          <a:p>
            <a:pPr marL="904875" indent="-468313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before </a:t>
            </a:r>
            <a:r>
              <a:rPr lang="en-US" sz="2430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>
              <a:latin typeface="Gadugi" charset="0"/>
              <a:ea typeface="Gadugi" charset="0"/>
              <a:cs typeface="Gadugi" charset="0"/>
            </a:endParaRP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3635751" y="17118691"/>
            <a:ext cx="3098800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sp>
        <p:nvSpPr>
          <p:cNvPr id="2106" name="Right Arrow 2105"/>
          <p:cNvSpPr/>
          <p:nvPr/>
        </p:nvSpPr>
        <p:spPr>
          <a:xfrm>
            <a:off x="26912351" y="18799556"/>
            <a:ext cx="723900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7" name="Group 2106"/>
          <p:cNvGrpSpPr/>
          <p:nvPr/>
        </p:nvGrpSpPr>
        <p:grpSpPr>
          <a:xfrm>
            <a:off x="27797725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5" name="TextBox 2124"/>
          <p:cNvSpPr txBox="1"/>
          <p:nvPr/>
        </p:nvSpPr>
        <p:spPr>
          <a:xfrm>
            <a:off x="24029451" y="18228057"/>
            <a:ext cx="2362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Gadugi" charset="0"/>
                <a:cs typeface="Gadugi" charset="0"/>
              </a:rPr>
              <a:t>f = flow(</a:t>
            </a:r>
            <a:r>
              <a:rPr lang="en-US" sz="2000" dirty="0" err="1">
                <a:latin typeface="Gadugi" charset="0"/>
                <a:cs typeface="Gadugi" charset="0"/>
              </a:rPr>
              <a:t>pkt</a:t>
            </a:r>
            <a:r>
              <a:rPr lang="en-US" sz="2000" dirty="0">
                <a:latin typeface="Gadugi" charset="0"/>
                <a:cs typeface="Gadugi" charset="0"/>
              </a:rPr>
              <a:t>) </a:t>
            </a:r>
          </a:p>
          <a:p>
            <a:r>
              <a:rPr lang="en-US" sz="2000" dirty="0" err="1">
                <a:latin typeface="Gadugi" charset="0"/>
                <a:cs typeface="Gadugi" charset="0"/>
              </a:rPr>
              <a:t>p.tmp</a:t>
            </a:r>
            <a:r>
              <a:rPr lang="en-US" sz="2000" dirty="0">
                <a:latin typeface="Gadugi" charset="0"/>
                <a:cs typeface="Gadugi" charset="0"/>
              </a:rPr>
              <a:t> = T[f] + </a:t>
            </a:r>
            <a:r>
              <a:rPr lang="en-US" sz="2000" dirty="0" err="1">
                <a:latin typeface="Gadugi" charset="0"/>
                <a:cs typeface="Gadugi" charset="0"/>
              </a:rPr>
              <a:t>p.len</a:t>
            </a:r>
            <a:endParaRPr lang="en-US" sz="2000" dirty="0">
              <a:latin typeface="Gadugi" charset="0"/>
              <a:cs typeface="Gadugi" charset="0"/>
            </a:endParaRPr>
          </a:p>
          <a:p>
            <a:r>
              <a:rPr lang="is-IS" sz="2000" dirty="0">
                <a:latin typeface="Gadugi" charset="0"/>
                <a:cs typeface="Gadugi" charset="0"/>
              </a:rPr>
              <a:t>…</a:t>
            </a:r>
          </a:p>
          <a:p>
            <a:r>
              <a:rPr lang="is-IS" sz="2000" dirty="0">
                <a:latin typeface="Gadugi" charset="0"/>
                <a:cs typeface="Gadugi" charset="0"/>
              </a:rPr>
              <a:t>...</a:t>
            </a:r>
          </a:p>
          <a:p>
            <a:r>
              <a:rPr lang="is-IS" sz="2000" b="1" dirty="0">
                <a:latin typeface="Gadugi" charset="0"/>
                <a:cs typeface="Gadugi" charset="0"/>
              </a:rPr>
              <a:t>p.rank = 2 * p.tmp </a:t>
            </a:r>
          </a:p>
        </p:txBody>
      </p:sp>
      <p:grpSp>
        <p:nvGrpSpPr>
          <p:cNvPr id="2126" name="Group 2125"/>
          <p:cNvGrpSpPr/>
          <p:nvPr/>
        </p:nvGrpSpPr>
        <p:grpSpPr>
          <a:xfrm>
            <a:off x="23647754" y="21012986"/>
            <a:ext cx="7277100" cy="466130"/>
            <a:chOff x="2209800" y="5901035"/>
            <a:chExt cx="7277100" cy="466130"/>
          </a:xfrm>
        </p:grpSpPr>
        <p:sp>
          <p:nvSpPr>
            <p:cNvPr id="2127" name="TextBox 2126"/>
            <p:cNvSpPr txBox="1"/>
            <p:nvPr/>
          </p:nvSpPr>
          <p:spPr>
            <a:xfrm>
              <a:off x="2209800" y="59055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(programmable)</a:t>
              </a:r>
            </a:p>
          </p:txBody>
        </p:sp>
        <p:sp>
          <p:nvSpPr>
            <p:cNvPr id="2128" name="TextBox 2127"/>
            <p:cNvSpPr txBox="1"/>
            <p:nvPr/>
          </p:nvSpPr>
          <p:spPr>
            <a:xfrm>
              <a:off x="6438900" y="5901035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(fixed logic)</a:t>
              </a:r>
            </a:p>
          </p:txBody>
        </p:sp>
      </p:grpSp>
      <p:sp>
        <p:nvSpPr>
          <p:cNvPr id="2130" name="Rounded Rectangle 2129"/>
          <p:cNvSpPr/>
          <p:nvPr/>
        </p:nvSpPr>
        <p:spPr>
          <a:xfrm>
            <a:off x="23088600" y="21576893"/>
            <a:ext cx="8907673" cy="120112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3317200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3052776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4917400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73161" y="25664413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3164800" y="29291334"/>
            <a:ext cx="8727121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Meets timing </a:t>
            </a:r>
            <a:r>
              <a:rPr lang="en-US" sz="3600" dirty="0" smtClean="0">
                <a:latin typeface="Gadugi" charset="0"/>
                <a:cs typeface="Gadugi" charset="0"/>
              </a:rPr>
              <a:t>@ 1 </a:t>
            </a:r>
            <a:r>
              <a:rPr lang="en-US" sz="3600" dirty="0">
                <a:latin typeface="Gadugi" charset="0"/>
                <a:cs typeface="Gadugi" charset="0"/>
              </a:rPr>
              <a:t>GHz,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2642" y="3294256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3231"/>
            <a:ext cx="3962399" cy="1374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797949" y="12336340"/>
            <a:ext cx="7847213" cy="3539161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2420600" y="15790008"/>
            <a:ext cx="9226808" cy="116416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 router’s atoms form its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55505" y="6305902"/>
            <a:ext cx="8864600" cy="3092537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3916398" y="9423192"/>
            <a:ext cx="6235211" cy="110066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 compile to run at line-rate</a:t>
            </a:r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1</TotalTime>
  <Words>509</Words>
  <Application>Microsoft Macintosh PowerPoint</Application>
  <PresentationFormat>Custom</PresentationFormat>
  <Paragraphs>16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29</cp:revision>
  <cp:lastPrinted>2015-11-18T19:46:51Z</cp:lastPrinted>
  <dcterms:created xsi:type="dcterms:W3CDTF">2015-11-18T16:41:48Z</dcterms:created>
  <dcterms:modified xsi:type="dcterms:W3CDTF">2016-07-09T18:03:48Z</dcterms:modified>
</cp:coreProperties>
</file>